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82" d="100"/>
          <a:sy n="82" d="100"/>
        </p:scale>
        <p:origin x="850" y="48"/>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1.577</c:v>
                </c:pt>
                <c:pt idx="1">
                  <c:v>1.387</c:v>
                </c:pt>
                <c:pt idx="2">
                  <c:v>1.2470000000000001</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4.7569999999999997</c:v>
                </c:pt>
                <c:pt idx="1">
                  <c:v>4.9169999999999998</c:v>
                </c:pt>
                <c:pt idx="2">
                  <c:v>4.4980000000000002</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1.6919999999999999</c:v>
                </c:pt>
                <c:pt idx="1">
                  <c:v>1.681</c:v>
                </c:pt>
                <c:pt idx="2">
                  <c:v>1.6479999999999999</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2.2679999999999998</c:v>
                </c:pt>
                <c:pt idx="1">
                  <c:v>1.69</c:v>
                </c:pt>
                <c:pt idx="2">
                  <c:v>1.8280000000000001</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9.3819999999999997</c:v>
                </c:pt>
                <c:pt idx="1">
                  <c:v>10.16</c:v>
                </c:pt>
                <c:pt idx="2">
                  <c:v>9.8149999999999995</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3.0209999999999999</c:v>
                </c:pt>
                <c:pt idx="1">
                  <c:v>3.7570000000000001</c:v>
                </c:pt>
                <c:pt idx="2">
                  <c:v>5.0759999999999996</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22.697000000000003</c:v>
                </c:pt>
                <c:pt idx="1">
                  <c:v>23.592000000000002</c:v>
                </c:pt>
                <c:pt idx="2">
                  <c:v>24.112000000000002</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8E07D698-F9E8-4F06-91E0-19B9861E52D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ADE1D0BE-2432-461B-BBA3-33272D87475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E9615A43-4E3C-4498-8C09-02F53BFAFF6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1FF2CF9F-979D-4CDD-8F4C-236A08832D4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65263F82-9D47-452C-8083-B69F2967C1D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CEEB12E6-009F-4E1A-816E-7B38B62803C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A26B9971-6929-4233-88A3-602DDD6C545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84886D8A-9256-467A-876B-2B2C1DC8049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71262A6D-DADF-432F-8E2D-E704412767A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09A8B462-58F8-4A8E-85AE-B473123EF28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065CA229-A29D-4AFA-ADD4-26BE0DFF3B1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4A6E9FDE-8E81-4AED-9D0C-96A29C302E3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B590F450-AF70-4886-BF0E-AE4D3358387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E430894A-DC42-4265-ABE7-7FFC5E4C65E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678D715E-81C3-46F5-8E41-D93D0619A05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BC13EE5D-8DED-49F2-9A04-452A98B01F4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A52DA7C1-965B-4E7F-BB57-7B4F1E7C6FD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90E5F81E-0B0F-487F-8866-49A55990137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Handel</c:v>
                </c:pt>
                <c:pt idx="1">
                  <c:v>Gezondheids- en welzijnszorg</c:v>
                </c:pt>
                <c:pt idx="2">
                  <c:v>Verhuur en overige zakelijke diensten</c:v>
                </c:pt>
                <c:pt idx="3">
                  <c:v>Bouwnijverheid</c:v>
                </c:pt>
                <c:pt idx="4">
                  <c:v>Horeca</c:v>
                </c:pt>
                <c:pt idx="5">
                  <c:v>Specialistische zakelijke diensten</c:v>
                </c:pt>
                <c:pt idx="6">
                  <c:v>Vervoer en opslag</c:v>
                </c:pt>
                <c:pt idx="7">
                  <c:v>Financiële dienstverlening</c:v>
                </c:pt>
                <c:pt idx="8">
                  <c:v>Landbouw, bosbouw en visserij</c:v>
                </c:pt>
                <c:pt idx="9">
                  <c:v>Informatie en communicatie</c:v>
                </c:pt>
                <c:pt idx="10">
                  <c:v>Cultuur, sport en recreatie</c:v>
                </c:pt>
                <c:pt idx="11">
                  <c:v>Overige dienstverlening</c:v>
                </c:pt>
                <c:pt idx="12">
                  <c:v>Verhuur en handel van onroerend goed</c:v>
                </c:pt>
                <c:pt idx="13">
                  <c:v>Delfstoffenwinning</c:v>
                </c:pt>
                <c:pt idx="14">
                  <c:v>Energievoorziening</c:v>
                </c:pt>
                <c:pt idx="15">
                  <c:v>Industrie</c:v>
                </c:pt>
                <c:pt idx="16">
                  <c:v>Waterbedrijven en afvalbeheer</c:v>
                </c:pt>
                <c:pt idx="17">
                  <c:v>Openbaar bestuur en overheidsdiensten</c:v>
                </c:pt>
                <c:pt idx="18">
                  <c:v>Onderwijs</c:v>
                </c:pt>
              </c:strCache>
            </c:strRef>
          </c:cat>
          <c:val>
            <c:numRef>
              <c:f>Sheet1!$B$2:$B$20</c:f>
              <c:numCache>
                <c:formatCode>General</c:formatCode>
                <c:ptCount val="19"/>
                <c:pt idx="0">
                  <c:v>2</c:v>
                </c:pt>
                <c:pt idx="1">
                  <c:v>1.2</c:v>
                </c:pt>
                <c:pt idx="2">
                  <c:v>0.8</c:v>
                </c:pt>
                <c:pt idx="3">
                  <c:v>0.6</c:v>
                </c:pt>
                <c:pt idx="4">
                  <c:v>0.6</c:v>
                </c:pt>
                <c:pt idx="5">
                  <c:v>0.6</c:v>
                </c:pt>
                <c:pt idx="6">
                  <c:v>0.3</c:v>
                </c:pt>
                <c:pt idx="7">
                  <c:v>0.3</c:v>
                </c:pt>
                <c:pt idx="8">
                  <c:v>0.2</c:v>
                </c:pt>
                <c:pt idx="9">
                  <c:v>0.2</c:v>
                </c:pt>
                <c:pt idx="10">
                  <c:v>0.2</c:v>
                </c:pt>
                <c:pt idx="11">
                  <c:v>0.2</c:v>
                </c:pt>
                <c:pt idx="12">
                  <c:v>0.1</c:v>
                </c:pt>
                <c:pt idx="13">
                  <c:v>0</c:v>
                </c:pt>
                <c:pt idx="14">
                  <c:v>0</c:v>
                </c:pt>
                <c:pt idx="15">
                  <c:v>0</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2</c:v>
                  </c:pt>
                  <c:pt idx="1">
                    <c:v>1,2</c:v>
                  </c:pt>
                  <c:pt idx="2">
                    <c:v>0,8</c:v>
                  </c:pt>
                  <c:pt idx="3">
                    <c:v>0,6</c:v>
                  </c:pt>
                  <c:pt idx="4">
                    <c:v>0,6</c:v>
                  </c:pt>
                  <c:pt idx="5">
                    <c:v>0,6</c:v>
                  </c:pt>
                  <c:pt idx="6">
                    <c:v>0,3</c:v>
                  </c:pt>
                  <c:pt idx="7">
                    <c:v>0,3</c:v>
                  </c:pt>
                  <c:pt idx="8">
                    <c:v>0,2</c:v>
                  </c:pt>
                  <c:pt idx="9">
                    <c:v>0,2</c:v>
                  </c:pt>
                  <c:pt idx="10">
                    <c:v>0,2</c:v>
                  </c:pt>
                  <c:pt idx="11">
                    <c:v>0,2</c:v>
                  </c:pt>
                  <c:pt idx="12">
                    <c:v>0,1</c:v>
                  </c:pt>
                  <c:pt idx="13">
                    <c:v>0</c:v>
                  </c:pt>
                  <c:pt idx="14">
                    <c:v>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EA69FB29-65CE-4DE4-8565-FC24A0D7910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8465136F-820A-4064-96D3-526F644331D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A91C98D7-0FB6-49E5-81B3-19177D09CAD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ABC28FBF-80F0-430C-B7A0-F65384D007B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3DBC118F-8848-4B01-B1C8-E2FB353B9C2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3B7B6FCC-2793-4AF4-9BC4-B73739886C3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2ECA1811-F669-4A34-89D2-4D44E066ED0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04A3E91C-AEBF-4C37-AF79-6C96DE1F699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C039F5B4-DFEE-45AF-A9D2-55E4696EA64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6F154C44-1203-4C3C-9994-0088D9396AF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7A8E08DA-672F-4084-935F-FAEC0BA599A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1FD61086-0C08-4DA4-BA7C-4B32400DD0F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0DCB1EFD-03AB-4A26-986A-1861D65BA4F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A51C2E14-B5E3-4EB6-AAD6-367C0F22453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1986C437-8224-48D4-9D47-B110A0DEC8E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C037259A-3758-4A91-A0BD-A5003DB0194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B43BEB16-8A8D-42EE-B4FE-F6D2A52150B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CAC0550C-2A2E-4939-88B5-027BFBF9F8D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5</c:v>
                </c:pt>
                <c:pt idx="1">
                  <c:v>0.39999999999999991</c:v>
                </c:pt>
                <c:pt idx="2">
                  <c:v>0.4</c:v>
                </c:pt>
                <c:pt idx="3">
                  <c:v>9.9999999999999978E-2</c:v>
                </c:pt>
                <c:pt idx="4">
                  <c:v>9.9999999999999978E-2</c:v>
                </c:pt>
                <c:pt idx="5">
                  <c:v>0</c:v>
                </c:pt>
                <c:pt idx="6">
                  <c:v>0</c:v>
                </c:pt>
                <c:pt idx="7">
                  <c:v>0.19999999999999998</c:v>
                </c:pt>
                <c:pt idx="8">
                  <c:v>0</c:v>
                </c:pt>
                <c:pt idx="9">
                  <c:v>0.1</c:v>
                </c:pt>
                <c:pt idx="10">
                  <c:v>0</c:v>
                </c:pt>
                <c:pt idx="11">
                  <c:v>0</c:v>
                </c:pt>
                <c:pt idx="12">
                  <c:v>0</c:v>
                </c:pt>
                <c:pt idx="13">
                  <c:v>0</c:v>
                </c:pt>
                <c:pt idx="14">
                  <c:v>0</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0,5</c:v>
                  </c:pt>
                  <c:pt idx="1">
                    <c:v>0,4</c:v>
                  </c:pt>
                  <c:pt idx="2">
                    <c:v>0,4</c:v>
                  </c:pt>
                  <c:pt idx="3">
                    <c:v>0,1</c:v>
                  </c:pt>
                  <c:pt idx="4">
                    <c:v>0,1</c:v>
                  </c:pt>
                  <c:pt idx="5">
                    <c:v>0</c:v>
                  </c:pt>
                  <c:pt idx="6">
                    <c:v>0</c:v>
                  </c:pt>
                  <c:pt idx="7">
                    <c:v>0,2</c:v>
                  </c:pt>
                  <c:pt idx="8">
                    <c:v>0</c:v>
                  </c:pt>
                  <c:pt idx="9">
                    <c:v>0,1</c:v>
                  </c:pt>
                  <c:pt idx="10">
                    <c:v>0</c:v>
                  </c:pt>
                  <c:pt idx="11">
                    <c:v>0</c:v>
                  </c:pt>
                  <c:pt idx="12">
                    <c:v>0</c:v>
                  </c:pt>
                  <c:pt idx="13">
                    <c:v>0</c:v>
                  </c:pt>
                  <c:pt idx="14">
                    <c:v>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C0DC0F19-A47D-455F-ADD2-7FAAE428466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E4205B63-8F2B-48F4-8EF8-0451D60D8A0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14212F63-E619-423B-9D9F-34D5036F4DB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0F1FEE76-8959-487F-ACBE-FF199D22483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27DC551A-847B-4D26-BDC0-8ABACF3AF09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213A230B-5EAF-49C1-9EDD-65A89A8BC1C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E19132C4-C12A-4219-8256-4EFFA9CFE9A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5F56E70F-C5C6-45AB-AD0D-D6DF344AA76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4CF3AB6F-860D-46A6-8FE5-02F48399442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0A920011-1571-442E-94A9-5428A12A872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6DA22A05-4D9B-4DE3-8904-27F119B6D80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B8A0380F-7A2B-447E-97B5-8D333897027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06D2C1BB-05FE-4DFA-9997-91B5936FABB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6693897F-F35B-45C7-BAA4-D182820AFD8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3FEE07BD-6B8C-4696-9CAA-FD189E441D2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91576E82-4897-4B30-9101-829620E2BF7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1235520B-8BB1-44BB-AB06-9FED750C5F1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1680DBC1-2360-435C-9CE8-6CF39CB14D8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0.64896851550660095</c:v>
                </c:pt>
                <c:pt idx="1">
                  <c:v>-9.9227807197471707E-3</c:v>
                </c:pt>
                <c:pt idx="2">
                  <c:v>-0.14278950306833382</c:v>
                </c:pt>
                <c:pt idx="3">
                  <c:v>1.1141778121439652</c:v>
                </c:pt>
                <c:pt idx="4">
                  <c:v>0.61523961405305694</c:v>
                </c:pt>
                <c:pt idx="5">
                  <c:v>0.31317352721446756</c:v>
                </c:pt>
                <c:pt idx="6">
                  <c:v>-0.10959456355161779</c:v>
                </c:pt>
                <c:pt idx="7">
                  <c:v>0.30780367264221487</c:v>
                </c:pt>
                <c:pt idx="8">
                  <c:v>1.2748088453977098</c:v>
                </c:pt>
                <c:pt idx="9">
                  <c:v>-0.17880675083857189</c:v>
                </c:pt>
                <c:pt idx="10">
                  <c:v>0.65280332600777924</c:v>
                </c:pt>
                <c:pt idx="11">
                  <c:v>0.72959286106566301</c:v>
                </c:pt>
                <c:pt idx="12">
                  <c:v>0.70693443930497724</c:v>
                </c:pt>
                <c:pt idx="13">
                  <c:v>-1</c:v>
                </c:pt>
                <c:pt idx="14">
                  <c:v>-1</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65%</c:v>
                  </c:pt>
                  <c:pt idx="1">
                    <c:v>-1%</c:v>
                  </c:pt>
                  <c:pt idx="2">
                    <c:v>-14%</c:v>
                  </c:pt>
                  <c:pt idx="3">
                    <c:v>+111%</c:v>
                  </c:pt>
                  <c:pt idx="4">
                    <c:v>+62%</c:v>
                  </c:pt>
                  <c:pt idx="5">
                    <c:v>+31%</c:v>
                  </c:pt>
                  <c:pt idx="6">
                    <c:v>-11%</c:v>
                  </c:pt>
                  <c:pt idx="7">
                    <c:v>+31%</c:v>
                  </c:pt>
                  <c:pt idx="8">
                    <c:v>+127%</c:v>
                  </c:pt>
                  <c:pt idx="9">
                    <c:v>-18%</c:v>
                  </c:pt>
                  <c:pt idx="10">
                    <c:v>+65%</c:v>
                  </c:pt>
                  <c:pt idx="11">
                    <c:v>+73%</c:v>
                  </c:pt>
                  <c:pt idx="12">
                    <c:v>+71%</c:v>
                  </c:pt>
                  <c:pt idx="13">
                    <c:v>-100%</c:v>
                  </c:pt>
                  <c:pt idx="14">
                    <c:v>-10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66666666666666663</c:v>
                </c:pt>
                <c:pt idx="1">
                  <c:v>0.66666666666666663</c:v>
                </c:pt>
                <c:pt idx="2">
                  <c:v>0.72222222222222221</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5.4000000953674319E-2</c:v>
                </c:pt>
                <c:pt idx="1">
                  <c:v>4.6999998092651367E-2</c:v>
                </c:pt>
                <c:pt idx="2">
                  <c:v>2.2999999523162843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381767088189106</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17938342163447499</c:v>
                </c:pt>
                <c:pt idx="1">
                  <c:v>0.18926415402186328</c:v>
                </c:pt>
                <c:pt idx="2">
                  <c:v>0.19381767088189106</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381767088189106</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3.3373659838972093E-2</c:v>
                </c:pt>
                <c:pt idx="1">
                  <c:v>3.1815956926089087E-2</c:v>
                </c:pt>
                <c:pt idx="2">
                  <c:v>3.1820811637325398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381767088189106</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1.0429268699678779E-2</c:v>
                </c:pt>
                <c:pt idx="1">
                  <c:v>1.2236906510034264E-2</c:v>
                </c:pt>
                <c:pt idx="2">
                  <c:v>9.9181750557897352E-3</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381767088189106</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14000000000000001</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21</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2</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22</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23</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6267857142857145</c:v>
                </c:pt>
                <c:pt idx="2">
                  <c:v>0.6267857142857145</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0.89485714285714291</c:v>
                </c:pt>
                <c:pt idx="4" formatCode="0.0%">
                  <c:v>0.89485714285714291</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0.85263157894736852</c:v>
                </c:pt>
                <c:pt idx="6" formatCode="0.0%">
                  <c:v>0.85263157894736852</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0.7200000000000002</c:v>
                </c:pt>
                <c:pt idx="8" formatCode="0.0%">
                  <c:v>0.7200000000000002</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63116883116883127</c:v>
                </c:pt>
                <c:pt idx="10" formatCode="0.0%">
                  <c:v>0.63116883116883127</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80769230769230782</c:v>
                </c:pt>
                <c:pt idx="26">
                  <c:v>0.80769230769230782</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1.2692307692307694</c:v>
                </c:pt>
                <c:pt idx="28">
                  <c:v>1.2692307692307694</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3244147157190636</c:v>
                </c:pt>
                <c:pt idx="30">
                  <c:v>1.3244147157190636</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1.3180473372781065</c:v>
                </c:pt>
                <c:pt idx="32">
                  <c:v>1.3180473372781065</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1.3668639053254439</c:v>
                </c:pt>
                <c:pt idx="34">
                  <c:v>1.3668639053254439</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2517241379310344</c:v>
                </c:pt>
                <c:pt idx="38">
                  <c:v>1.2517241379310344</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1.1379310344827589</c:v>
                </c:pt>
                <c:pt idx="40">
                  <c:v>1.1379310344827589</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1379310344827587</c:v>
                </c:pt>
                <c:pt idx="42">
                  <c:v>1.1379310344827587</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1379310344827589</c:v>
                </c:pt>
                <c:pt idx="44">
                  <c:v>1.1379310344827589</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1.1379310344827587</c:v>
                </c:pt>
                <c:pt idx="46">
                  <c:v>1.1379310344827587</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1.577</c:v>
                </c:pt>
                <c:pt idx="1">
                  <c:v>1.387</c:v>
                </c:pt>
                <c:pt idx="2">
                  <c:v>1.2470000000000001</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4.7569999999999997</c:v>
                </c:pt>
                <c:pt idx="1">
                  <c:v>4.9169999999999998</c:v>
                </c:pt>
                <c:pt idx="2">
                  <c:v>4.4980000000000002</c:v>
                </c:pt>
                <c:pt idx="3">
                  <c:v>5.5</c:v>
                </c:pt>
                <c:pt idx="4">
                  <c:v>5.5</c:v>
                </c:pt>
                <c:pt idx="5">
                  <c:v>5.4000000953674316</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1.6919999999999999</c:v>
                </c:pt>
                <c:pt idx="1">
                  <c:v>1.681</c:v>
                </c:pt>
                <c:pt idx="2">
                  <c:v>1.6479999999999999</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2.2679999999999998</c:v>
                </c:pt>
                <c:pt idx="1">
                  <c:v>1.69</c:v>
                </c:pt>
                <c:pt idx="2">
                  <c:v>1.8280000000000001</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9.3819999999999997</c:v>
                </c:pt>
                <c:pt idx="1">
                  <c:v>10.16</c:v>
                </c:pt>
                <c:pt idx="2">
                  <c:v>9.8149999999999995</c:v>
                </c:pt>
                <c:pt idx="3">
                  <c:v>13.300000190734863</c:v>
                </c:pt>
                <c:pt idx="4">
                  <c:v>12.600000381469727</c:v>
                </c:pt>
                <c:pt idx="5">
                  <c:v>12.699999809265137</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3.0209999999999999</c:v>
                </c:pt>
                <c:pt idx="1">
                  <c:v>3.7570000000000001</c:v>
                </c:pt>
                <c:pt idx="2">
                  <c:v>5.0759999999999996</c:v>
                </c:pt>
                <c:pt idx="3">
                  <c:v>6.0999999046325684</c:v>
                </c:pt>
                <c:pt idx="4">
                  <c:v>7</c:v>
                </c:pt>
                <c:pt idx="5">
                  <c:v>7</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22.697000000000003</c:v>
                </c:pt>
                <c:pt idx="1">
                  <c:v>23.592000000000002</c:v>
                </c:pt>
                <c:pt idx="2">
                  <c:v>24.112000000000002</c:v>
                </c:pt>
                <c:pt idx="3">
                  <c:v>24.900000095367432</c:v>
                </c:pt>
                <c:pt idx="4">
                  <c:v>25.100000381469727</c:v>
                </c:pt>
                <c:pt idx="5">
                  <c:v>25.099999904632568</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67153284671532842</c:v>
                </c:pt>
                <c:pt idx="1">
                  <c:v>0.21537987046365786</c:v>
                </c:pt>
                <c:pt idx="2">
                  <c:v>0.10959185771563688</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482000</c:v>
                </c:pt>
                <c:pt idx="1">
                  <c:v>445000</c:v>
                </c:pt>
                <c:pt idx="2">
                  <c:v>514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225</c:v>
                </c:pt>
                <c:pt idx="1">
                  <c:v>555</c:v>
                </c:pt>
                <c:pt idx="2">
                  <c:v>890</c:v>
                </c:pt>
                <c:pt idx="3">
                  <c:v>0</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250</c:v>
                </c:pt>
                <c:pt idx="1">
                  <c:v>605</c:v>
                </c:pt>
                <c:pt idx="2">
                  <c:v>865</c:v>
                </c:pt>
                <c:pt idx="3">
                  <c:v>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240</c:v>
                </c:pt>
                <c:pt idx="1">
                  <c:v>625</c:v>
                </c:pt>
                <c:pt idx="2">
                  <c:v>850</c:v>
                </c:pt>
                <c:pt idx="3">
                  <c:v>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20833333333333334</c:v>
                </c:pt>
                <c:pt idx="1">
                  <c:v>0</c:v>
                </c:pt>
                <c:pt idx="2">
                  <c:v>7.0588235294117646E-2</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125</c:v>
                </c:pt>
                <c:pt idx="1">
                  <c:v>3.2000000000000001E-2</c:v>
                </c:pt>
                <c:pt idx="2">
                  <c:v>6.4705882352941183E-2</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20833333333333334</c:v>
                </c:pt>
                <c:pt idx="1">
                  <c:v>9.6000000000000002E-2</c:v>
                </c:pt>
                <c:pt idx="2">
                  <c:v>0.10588235294117647</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125</c:v>
                </c:pt>
                <c:pt idx="1">
                  <c:v>0.184</c:v>
                </c:pt>
                <c:pt idx="2">
                  <c:v>0.1588235294117647</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33333333333333331</c:v>
                </c:pt>
                <c:pt idx="1">
                  <c:v>0.68799999999999994</c:v>
                </c:pt>
                <c:pt idx="2">
                  <c:v>0.6</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0.11900000000000001</c:v>
                </c:pt>
                <c:pt idx="1">
                  <c:v>1.3999999999999999E-2</c:v>
                </c:pt>
                <c:pt idx="2">
                  <c:v>0</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655</c:v>
                </c:pt>
                <c:pt idx="1">
                  <c:v>675</c:v>
                </c:pt>
                <c:pt idx="2">
                  <c:v>665</c:v>
                </c:pt>
                <c:pt idx="3">
                  <c:v>685</c:v>
                </c:pt>
                <c:pt idx="4">
                  <c:v>695</c:v>
                </c:pt>
                <c:pt idx="5">
                  <c:v>670</c:v>
                </c:pt>
                <c:pt idx="6">
                  <c:v>555</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40</c:v>
                </c:pt>
                <c:pt idx="1">
                  <c:v>50</c:v>
                </c:pt>
                <c:pt idx="2">
                  <c:v>60</c:v>
                </c:pt>
                <c:pt idx="3">
                  <c:v>60</c:v>
                </c:pt>
                <c:pt idx="4">
                  <c:v>65</c:v>
                </c:pt>
                <c:pt idx="5">
                  <c:v>75</c:v>
                </c:pt>
                <c:pt idx="6">
                  <c:v>7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0</c:v>
                </c:pt>
                <c:pt idx="1">
                  <c:v>0</c:v>
                </c:pt>
                <c:pt idx="2">
                  <c:v>0</c:v>
                </c:pt>
                <c:pt idx="3">
                  <c:v>0</c:v>
                </c:pt>
                <c:pt idx="4">
                  <c:v>0</c:v>
                </c:pt>
                <c:pt idx="5">
                  <c:v>0</c:v>
                </c:pt>
                <c:pt idx="6">
                  <c:v>0</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tten</c:v>
                </c:pt>
                <c:pt idx="1">
                  <c:v>Nederland</c:v>
                </c:pt>
              </c:strCache>
            </c:strRef>
          </c:cat>
          <c:val>
            <c:numRef>
              <c:f>Sheet1!$B$2:$B$3</c:f>
              <c:numCache>
                <c:formatCode>0%</c:formatCode>
                <c:ptCount val="2"/>
                <c:pt idx="0">
                  <c:v>0.22445255474452555</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tten</c:v>
                </c:pt>
                <c:pt idx="1">
                  <c:v>Nederland</c:v>
                </c:pt>
              </c:strCache>
            </c:strRef>
          </c:cat>
          <c:val>
            <c:numRef>
              <c:f>Sheet1!$C$2:$C$3</c:f>
              <c:numCache>
                <c:formatCode>0%</c:formatCode>
                <c:ptCount val="2"/>
                <c:pt idx="0">
                  <c:v>0.25</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tten</c:v>
                </c:pt>
                <c:pt idx="1">
                  <c:v>Nederland</c:v>
                </c:pt>
              </c:strCache>
            </c:strRef>
          </c:cat>
          <c:val>
            <c:numRef>
              <c:f>Sheet1!$D$2:$D$3</c:f>
              <c:numCache>
                <c:formatCode>0%</c:formatCode>
                <c:ptCount val="2"/>
                <c:pt idx="0">
                  <c:v>0.32116788321167883</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tten</c:v>
                </c:pt>
                <c:pt idx="1">
                  <c:v>Nederland</c:v>
                </c:pt>
              </c:strCache>
            </c:strRef>
          </c:cat>
          <c:val>
            <c:numRef>
              <c:f>Sheet1!$E$2:$E$3</c:f>
              <c:numCache>
                <c:formatCode>0%</c:formatCode>
                <c:ptCount val="2"/>
                <c:pt idx="0">
                  <c:v>0.20437956204379562</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47474141807824916</c:v>
                </c:pt>
                <c:pt idx="1">
                  <c:v>0.43200000000000005</c:v>
                </c:pt>
                <c:pt idx="2">
                  <c:v>0.42519686428876358</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118111064011455</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tten</c:v>
                </c:pt>
                <c:pt idx="1">
                  <c:v>Nederland</c:v>
                </c:pt>
              </c:strCache>
            </c:strRef>
          </c:cat>
          <c:val>
            <c:numRef>
              <c:f>Sheet1!$B$2:$B$3</c:f>
              <c:numCache>
                <c:formatCode>0.0%</c:formatCode>
                <c:ptCount val="2"/>
                <c:pt idx="0">
                  <c:v>0.49175824175824173</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tten</c:v>
                </c:pt>
                <c:pt idx="1">
                  <c:v>Nederland</c:v>
                </c:pt>
              </c:strCache>
            </c:strRef>
          </c:cat>
          <c:val>
            <c:numRef>
              <c:f>Sheet1!$C$2:$C$3</c:f>
              <c:numCache>
                <c:formatCode>0.0%</c:formatCode>
                <c:ptCount val="2"/>
                <c:pt idx="0">
                  <c:v>0.28159340659340659</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tten</c:v>
                </c:pt>
                <c:pt idx="1">
                  <c:v>Nederland</c:v>
                </c:pt>
              </c:strCache>
            </c:strRef>
          </c:cat>
          <c:val>
            <c:numRef>
              <c:f>Sheet1!$D$2:$D$3</c:f>
              <c:numCache>
                <c:formatCode>0.0%</c:formatCode>
                <c:ptCount val="2"/>
                <c:pt idx="0">
                  <c:v>0.18234890109890109</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tten</c:v>
                </c:pt>
                <c:pt idx="1">
                  <c:v>Nederland</c:v>
                </c:pt>
              </c:strCache>
            </c:strRef>
          </c:cat>
          <c:val>
            <c:numRef>
              <c:f>Sheet1!$E$2:$E$3</c:f>
              <c:numCache>
                <c:formatCode>0.0%</c:formatCode>
                <c:ptCount val="2"/>
                <c:pt idx="0">
                  <c:v>4.4299450549450552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71D2BE6A-3C63-4507-952F-2E518370902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FB3625AF-007D-4AC0-A208-E3C18E530F7F}"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7A9B9DC9-453E-4F7E-9C86-83C456961F6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E9034039-BB8B-4F9C-983A-04A4F2A72A20}"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32627DE5-11C9-4643-BC7E-1CFCF9EC234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E10C8BAE-E62D-4C49-9868-E293D6E986BD}"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Vernieling</c:v>
                </c:pt>
                <c:pt idx="3">
                  <c:v>Bedrog</c:v>
                </c:pt>
                <c:pt idx="4">
                  <c:v>Valsheidsmisdrijven</c:v>
                </c:pt>
                <c:pt idx="5">
                  <c:v>Gewelds- en 
seksuele misdrijven</c:v>
                </c:pt>
                <c:pt idx="6">
                  <c:v>Overig</c:v>
                </c:pt>
              </c:strCache>
            </c:strRef>
          </c:cat>
          <c:val>
            <c:numRef>
              <c:f>Sheet1!$B$2:$B$8</c:f>
              <c:numCache>
                <c:formatCode>#,##0</c:formatCode>
                <c:ptCount val="7"/>
                <c:pt idx="0">
                  <c:v>260</c:v>
                </c:pt>
                <c:pt idx="1">
                  <c:v>130</c:v>
                </c:pt>
                <c:pt idx="2">
                  <c:v>75</c:v>
                </c:pt>
                <c:pt idx="3">
                  <c:v>70</c:v>
                </c:pt>
                <c:pt idx="4">
                  <c:v>35</c:v>
                </c:pt>
                <c:pt idx="5">
                  <c:v>35</c:v>
                </c:pt>
                <c:pt idx="6">
                  <c:v>35</c:v>
                </c:pt>
              </c:numCache>
            </c:numRef>
          </c:val>
          <c:extLst>
            <c:ext xmlns:c15="http://schemas.microsoft.com/office/drawing/2012/chart" uri="{02D57815-91ED-43cb-92C2-25804820EDAC}">
              <c15:datalabelsRange>
                <c15:f>Sheet1!$B$2:$B$20</c15:f>
                <c15:dlblRangeCache>
                  <c:ptCount val="19"/>
                  <c:pt idx="0">
                    <c:v>260</c:v>
                  </c:pt>
                  <c:pt idx="1">
                    <c:v>130</c:v>
                  </c:pt>
                  <c:pt idx="2">
                    <c:v>75</c:v>
                  </c:pt>
                  <c:pt idx="3">
                    <c:v>70</c:v>
                  </c:pt>
                  <c:pt idx="4">
                    <c:v>35</c:v>
                  </c:pt>
                  <c:pt idx="5">
                    <c:v>35</c:v>
                  </c:pt>
                  <c:pt idx="6">
                    <c:v>35</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3E2DF323-B6B9-4F3A-85D7-485B5A50628A}"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4C029EAD-9451-4A65-AC0B-D24A088608D9}"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3864E1EF-D28A-40C8-BA00-FF01DCC0DED1}"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7EE3D473-1108-4AC3-8ACE-934809055D80}"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5AC03CA2-E5F2-491A-BA36-EB590FB53536}"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3D90D215-B628-4055-8BE3-A428061CC170}"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50371103857151134</c:v>
                </c:pt>
                <c:pt idx="1">
                  <c:v>-0.24781675453443791</c:v>
                </c:pt>
                <c:pt idx="2">
                  <c:v>-0.47511171614192715</c:v>
                </c:pt>
                <c:pt idx="3">
                  <c:v>-6.5185874908964422E-2</c:v>
                </c:pt>
                <c:pt idx="4">
                  <c:v>-0.30670004978687304</c:v>
                </c:pt>
                <c:pt idx="5">
                  <c:v>-0.69961029015280551</c:v>
                </c:pt>
                <c:pt idx="6">
                  <c:v>-0.44445094555096581</c:v>
                </c:pt>
              </c:numCache>
            </c:numRef>
          </c:val>
          <c:extLst>
            <c:ext xmlns:c15="http://schemas.microsoft.com/office/drawing/2012/chart" uri="{02D57815-91ED-43cb-92C2-25804820EDAC}">
              <c15:datalabelsRange>
                <c15:f>Sheet1!$B$2:$B$35</c15:f>
                <c15:dlblRangeCache>
                  <c:ptCount val="34"/>
                  <c:pt idx="0">
                    <c:v>-50%</c:v>
                  </c:pt>
                  <c:pt idx="1">
                    <c:v>-25%</c:v>
                  </c:pt>
                  <c:pt idx="2">
                    <c:v>-48%</c:v>
                  </c:pt>
                  <c:pt idx="3">
                    <c:v>-7%</c:v>
                  </c:pt>
                  <c:pt idx="4">
                    <c:v>-31%</c:v>
                  </c:pt>
                  <c:pt idx="5">
                    <c:v>-70%</c:v>
                  </c:pt>
                  <c:pt idx="6">
                    <c:v>-44%</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8F5F5802-4860-4ABF-94D8-C5316C9583B0}"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5F04E8EE-1315-4863-A923-D9BC7C6099E9}"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46E135D7-3524-4CAA-8F0C-EA99F5902780}"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F6F639BC-7F30-409A-A58C-724BA62D76DF}"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E598B117-E7C3-4AA7-88D4-0AA153077080}"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3.7127153320338745E-2</c:v>
                </c:pt>
                <c:pt idx="1">
                  <c:v>3.9745607431721064E-2</c:v>
                </c:pt>
                <c:pt idx="2">
                  <c:v>8.0668192093485844E-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8.6100535152574265E-2</c:v>
                </c:pt>
                <c:pt idx="1">
                  <c:v>-0.1344831904378522</c:v>
                </c:pt>
                <c:pt idx="2">
                  <c:v>-0.12428270046324162</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P'12</c:v>
                  </c:pt>
                  <c:pt idx="1">
                    <c:v>P'17</c:v>
                  </c:pt>
                  <c:pt idx="2">
                    <c:v>P'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D1BA54E9-77E9-4802-88DC-3FA592DA4DF5}"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F6FA957B-A991-47E4-9F17-85CD270C6B63}"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2887AD36-A3A3-4F62-87D5-367D5D6E0F50}"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25A9EE63-6638-46B3-AED4-861169A0A50E}"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629342FE-961B-4764-AC4A-184959077C6A}"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26526606423914495</c:v>
                </c:pt>
                <c:pt idx="1">
                  <c:v>0.22154234385334737</c:v>
                </c:pt>
                <c:pt idx="2">
                  <c:v>8.0668192093485844E-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13698427060088722</c:v>
                </c:pt>
                <c:pt idx="1">
                  <c:v>-0.3637676362791849</c:v>
                </c:pt>
                <c:pt idx="2">
                  <c:v>-0.12428270046324162</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P'12</c:v>
                  </c:pt>
                  <c:pt idx="1">
                    <c:v>P'17</c:v>
                  </c:pt>
                  <c:pt idx="2">
                    <c:v>P'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29990590133082401</c:v>
                </c:pt>
                <c:pt idx="1">
                  <c:v>3.2195187525204998E-2</c:v>
                </c:pt>
                <c:pt idx="2">
                  <c:v>8.0319935475198279E-2</c:v>
                </c:pt>
                <c:pt idx="3">
                  <c:v>0.15116279069767441</c:v>
                </c:pt>
                <c:pt idx="4">
                  <c:v>3.9924721064659226E-2</c:v>
                </c:pt>
                <c:pt idx="5">
                  <c:v>0.1033068960881839</c:v>
                </c:pt>
                <c:pt idx="6">
                  <c:v>1.0216426939104718E-2</c:v>
                </c:pt>
                <c:pt idx="7">
                  <c:v>0</c:v>
                </c:pt>
                <c:pt idx="8">
                  <c:v>9.8131469283505839E-3</c:v>
                </c:pt>
                <c:pt idx="9">
                  <c:v>0.14249227046646054</c:v>
                </c:pt>
                <c:pt idx="10">
                  <c:v>0</c:v>
                </c:pt>
                <c:pt idx="11">
                  <c:v>0</c:v>
                </c:pt>
                <c:pt idx="12">
                  <c:v>0.10942330958462158</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22047439152783799</c:v>
                </c:pt>
                <c:pt idx="1">
                  <c:v>5.0659565244317827E-2</c:v>
                </c:pt>
                <c:pt idx="2">
                  <c:v>0.11370533225986251</c:v>
                </c:pt>
                <c:pt idx="3">
                  <c:v>0.2085836378274602</c:v>
                </c:pt>
                <c:pt idx="4">
                  <c:v>3.8335294481947113E-2</c:v>
                </c:pt>
                <c:pt idx="5">
                  <c:v>2.2852542267913546E-2</c:v>
                </c:pt>
                <c:pt idx="6">
                  <c:v>2.916950517123924E-2</c:v>
                </c:pt>
                <c:pt idx="7">
                  <c:v>1.2881649842075927E-2</c:v>
                </c:pt>
                <c:pt idx="8">
                  <c:v>1.523502817860903E-2</c:v>
                </c:pt>
                <c:pt idx="9">
                  <c:v>0.13513346132408496</c:v>
                </c:pt>
                <c:pt idx="10">
                  <c:v>0</c:v>
                </c:pt>
                <c:pt idx="11">
                  <c:v>0</c:v>
                </c:pt>
                <c:pt idx="12">
                  <c:v>0.11865981296835325</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22606911984087519</c:v>
                </c:pt>
                <c:pt idx="1">
                  <c:v>6.8373943311785187E-2</c:v>
                </c:pt>
                <c:pt idx="2">
                  <c:v>9.8644952759820978E-2</c:v>
                </c:pt>
                <c:pt idx="3">
                  <c:v>0.15502237692690204</c:v>
                </c:pt>
                <c:pt idx="4">
                  <c:v>2.1258080556936846E-2</c:v>
                </c:pt>
                <c:pt idx="5">
                  <c:v>2.0512182993535553E-2</c:v>
                </c:pt>
                <c:pt idx="6">
                  <c:v>1.6409746394828444E-2</c:v>
                </c:pt>
                <c:pt idx="7">
                  <c:v>5.1839880656389857E-2</c:v>
                </c:pt>
                <c:pt idx="8">
                  <c:v>1.902038786673297E-2</c:v>
                </c:pt>
                <c:pt idx="9">
                  <c:v>0.133453505718548</c:v>
                </c:pt>
                <c:pt idx="10">
                  <c:v>7.7697662854301344E-3</c:v>
                </c:pt>
                <c:pt idx="11">
                  <c:v>2.2625559423172553E-2</c:v>
                </c:pt>
                <c:pt idx="12">
                  <c:v>0.11766534062655395</c:v>
                </c:pt>
                <c:pt idx="13">
                  <c:v>1.8647439085032321E-3</c:v>
                </c:pt>
                <c:pt idx="14">
                  <c:v>6.4022874191944305E-3</c:v>
                </c:pt>
                <c:pt idx="15">
                  <c:v>1.5788165091994034E-2</c:v>
                </c:pt>
                <c:pt idx="16">
                  <c:v>1.0566882148184983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1</c:v>
                </c:pt>
                <c:pt idx="1">
                  <c:v>0</c:v>
                </c:pt>
                <c:pt idx="2">
                  <c:v>4</c:v>
                </c:pt>
                <c:pt idx="3">
                  <c:v>0</c:v>
                </c:pt>
                <c:pt idx="4">
                  <c:v>0</c:v>
                </c:pt>
                <c:pt idx="5">
                  <c:v>0</c:v>
                </c:pt>
                <c:pt idx="6">
                  <c:v>0</c:v>
                </c:pt>
                <c:pt idx="7">
                  <c:v>5</c:v>
                </c:pt>
                <c:pt idx="8">
                  <c:v>0</c:v>
                </c:pt>
                <c:pt idx="9">
                  <c:v>0</c:v>
                </c:pt>
                <c:pt idx="10">
                  <c:v>2</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1</c:v>
                </c:pt>
                <c:pt idx="1">
                  <c:v>0</c:v>
                </c:pt>
                <c:pt idx="2">
                  <c:v>4</c:v>
                </c:pt>
                <c:pt idx="3">
                  <c:v>0</c:v>
                </c:pt>
                <c:pt idx="4">
                  <c:v>0</c:v>
                </c:pt>
                <c:pt idx="5">
                  <c:v>0</c:v>
                </c:pt>
                <c:pt idx="6">
                  <c:v>0</c:v>
                </c:pt>
                <c:pt idx="7">
                  <c:v>5</c:v>
                </c:pt>
                <c:pt idx="8">
                  <c:v>0</c:v>
                </c:pt>
                <c:pt idx="9">
                  <c:v>0</c:v>
                </c:pt>
                <c:pt idx="10">
                  <c:v>2</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0</c:v>
                </c:pt>
                <c:pt idx="1">
                  <c:v>0</c:v>
                </c:pt>
                <c:pt idx="2">
                  <c:v>4</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Wij Putten</c:v>
                </c:pt>
                <c:pt idx="1">
                  <c:v>GEMEENTEBELANGEN</c:v>
                </c:pt>
                <c:pt idx="2">
                  <c:v>Staatkundig Gereformeerde Partij (SGP)</c:v>
                </c:pt>
              </c:strCache>
            </c:strRef>
          </c:cat>
          <c:val>
            <c:numRef>
              <c:f>Sheet1!$B$2:$B$9</c:f>
              <c:numCache>
                <c:formatCode>0</c:formatCode>
                <c:ptCount val="8"/>
                <c:pt idx="0">
                  <c:v>4</c:v>
                </c:pt>
                <c:pt idx="1">
                  <c:v>3</c:v>
                </c:pt>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Wij Putten</c:v>
                </c:pt>
                <c:pt idx="1">
                  <c:v>GEMEENTEBELANGEN</c:v>
                </c:pt>
                <c:pt idx="2">
                  <c:v>Staatkundig Gereformeerde Partij (SGP)</c:v>
                </c:pt>
              </c:strCache>
            </c:strRef>
          </c:cat>
          <c:val>
            <c:numRef>
              <c:f>Sheet1!$C$2:$C$9</c:f>
              <c:numCache>
                <c:formatCode>0</c:formatCode>
                <c:ptCount val="8"/>
                <c:pt idx="0">
                  <c:v>5</c:v>
                </c:pt>
                <c:pt idx="1">
                  <c:v>2</c:v>
                </c:pt>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E1FF5C6D-7412-4093-A56F-BB078A3F670E}"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fld id="{5D40296E-148F-46DE-8DF5-0AD04EB0044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Wij Putten</c:v>
                </c:pt>
                <c:pt idx="1">
                  <c:v>GEMEENTEBELANGEN</c:v>
                </c:pt>
                <c:pt idx="2">
                  <c:v>Staatkundig Gereformeerde Partij (SGP)</c:v>
                </c:pt>
              </c:strCache>
            </c:strRef>
          </c:cat>
          <c:val>
            <c:numRef>
              <c:f>Sheet1!$D$2:$D$9</c:f>
              <c:numCache>
                <c:formatCode>0</c:formatCode>
                <c:ptCount val="8"/>
                <c:pt idx="0">
                  <c:v>5</c:v>
                </c:pt>
                <c:pt idx="1">
                  <c:v>3</c:v>
                </c:pt>
                <c:pt idx="2">
                  <c:v>3</c:v>
                </c:pt>
              </c:numCache>
            </c:numRef>
          </c:val>
          <c:extLst>
            <c:ext xmlns:c15="http://schemas.microsoft.com/office/drawing/2012/chart" uri="{02D57815-91ED-43cb-92C2-25804820EDAC}">
              <c15:datalabelsRange>
                <c15:f>Sheet1!$D$2:$D$7</c15:f>
                <c15:dlblRangeCache>
                  <c:ptCount val="6"/>
                  <c:pt idx="0">
                    <c:v>5</c:v>
                  </c:pt>
                  <c:pt idx="1">
                    <c:v>3</c:v>
                  </c:pt>
                  <c:pt idx="2">
                    <c:v>3</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tten</c:v>
                </c:pt>
                <c:pt idx="1">
                  <c:v>Nederland</c:v>
                </c:pt>
              </c:strCache>
            </c:strRef>
          </c:cat>
          <c:val>
            <c:numRef>
              <c:f>Sheet1!$B$2:$B$3</c:f>
              <c:numCache>
                <c:formatCode>0%</c:formatCode>
                <c:ptCount val="2"/>
                <c:pt idx="0">
                  <c:v>0.39099735216240072</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tten</c:v>
                </c:pt>
                <c:pt idx="1">
                  <c:v>Nederland</c:v>
                </c:pt>
              </c:strCache>
            </c:strRef>
          </c:cat>
          <c:val>
            <c:numRef>
              <c:f>Sheet1!$C$2:$C$3</c:f>
              <c:numCache>
                <c:formatCode>0%</c:formatCode>
                <c:ptCount val="2"/>
                <c:pt idx="0">
                  <c:v>0.46337157987643424</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tten</c:v>
                </c:pt>
                <c:pt idx="1">
                  <c:v>Nederland</c:v>
                </c:pt>
              </c:strCache>
            </c:strRef>
          </c:cat>
          <c:val>
            <c:numRef>
              <c:f>Sheet1!$D$2:$D$3</c:f>
              <c:numCache>
                <c:formatCode>0%</c:formatCode>
                <c:ptCount val="2"/>
                <c:pt idx="0">
                  <c:v>0.11209179170344219</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tten</c:v>
                </c:pt>
                <c:pt idx="1">
                  <c:v>Nederland</c:v>
                </c:pt>
              </c:strCache>
            </c:strRef>
          </c:cat>
          <c:val>
            <c:numRef>
              <c:f>Sheet1!$E$2:$E$3</c:f>
              <c:numCache>
                <c:formatCode>0%</c:formatCode>
                <c:ptCount val="2"/>
                <c:pt idx="0">
                  <c:v>3.3539276257722857E-2</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118111064011455</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2642782191575478</c:v>
                </c:pt>
                <c:pt idx="1">
                  <c:v>0.38200000000000001</c:v>
                </c:pt>
                <c:pt idx="2">
                  <c:v>0.55118111064011455</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118111064011455</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118111064011455</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rmelo</c:v>
                </c:pt>
                <c:pt idx="1">
                  <c:v>Harderwijk</c:v>
                </c:pt>
                <c:pt idx="2">
                  <c:v>Barneveld</c:v>
                </c:pt>
                <c:pt idx="3">
                  <c:v>Nijkerk</c:v>
                </c:pt>
                <c:pt idx="4">
                  <c:v>Ede</c:v>
                </c:pt>
                <c:pt idx="5">
                  <c:v>Apeldoorn</c:v>
                </c:pt>
                <c:pt idx="6">
                  <c:v>Amersfoort</c:v>
                </c:pt>
                <c:pt idx="7">
                  <c:v>Nunspeet</c:v>
                </c:pt>
                <c:pt idx="8">
                  <c:v>Zeewolde</c:v>
                </c:pt>
                <c:pt idx="9">
                  <c:v>Utrecht</c:v>
                </c:pt>
              </c:strCache>
            </c:strRef>
          </c:cat>
          <c:val>
            <c:numRef>
              <c:f>Sheet1!$B$2:$B$11</c:f>
              <c:numCache>
                <c:formatCode>General</c:formatCode>
                <c:ptCount val="10"/>
                <c:pt idx="0">
                  <c:v>166</c:v>
                </c:pt>
                <c:pt idx="1">
                  <c:v>108</c:v>
                </c:pt>
                <c:pt idx="2">
                  <c:v>94</c:v>
                </c:pt>
                <c:pt idx="3">
                  <c:v>47</c:v>
                </c:pt>
                <c:pt idx="4">
                  <c:v>39</c:v>
                </c:pt>
                <c:pt idx="5">
                  <c:v>33</c:v>
                </c:pt>
                <c:pt idx="6">
                  <c:v>25</c:v>
                </c:pt>
                <c:pt idx="7">
                  <c:v>24</c:v>
                </c:pt>
                <c:pt idx="8">
                  <c:v>23</c:v>
                </c:pt>
                <c:pt idx="9">
                  <c:v>21</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Ermelo</c:v>
                </c:pt>
                <c:pt idx="1">
                  <c:v>Harderwijk</c:v>
                </c:pt>
                <c:pt idx="2">
                  <c:v>Barneveld</c:v>
                </c:pt>
                <c:pt idx="3">
                  <c:v>Nijkerk</c:v>
                </c:pt>
                <c:pt idx="4">
                  <c:v>Ede</c:v>
                </c:pt>
                <c:pt idx="5">
                  <c:v>Apeldoorn</c:v>
                </c:pt>
                <c:pt idx="6">
                  <c:v>Amersfoort</c:v>
                </c:pt>
                <c:pt idx="7">
                  <c:v>Nunspeet</c:v>
                </c:pt>
                <c:pt idx="8">
                  <c:v>Zeewolde</c:v>
                </c:pt>
                <c:pt idx="9">
                  <c:v>Utrecht</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rmelo</c:v>
                </c:pt>
                <c:pt idx="1">
                  <c:v>Nijkerk</c:v>
                </c:pt>
                <c:pt idx="2">
                  <c:v>Harderwijk</c:v>
                </c:pt>
                <c:pt idx="3">
                  <c:v>Amersfoort</c:v>
                </c:pt>
                <c:pt idx="4">
                  <c:v>Barneveld</c:v>
                </c:pt>
                <c:pt idx="5">
                  <c:v>Ede</c:v>
                </c:pt>
                <c:pt idx="6">
                  <c:v>Nunspeet</c:v>
                </c:pt>
                <c:pt idx="7">
                  <c:v>Utrecht</c:v>
                </c:pt>
                <c:pt idx="8">
                  <c:v>Amsterdam</c:v>
                </c:pt>
                <c:pt idx="9">
                  <c:v>Soest</c:v>
                </c:pt>
              </c:strCache>
            </c:strRef>
          </c:cat>
          <c:val>
            <c:numRef>
              <c:f>Sheet1!$B$2:$B$11</c:f>
              <c:numCache>
                <c:formatCode>General</c:formatCode>
                <c:ptCount val="10"/>
                <c:pt idx="0">
                  <c:v>107</c:v>
                </c:pt>
                <c:pt idx="1">
                  <c:v>70</c:v>
                </c:pt>
                <c:pt idx="2">
                  <c:v>63</c:v>
                </c:pt>
                <c:pt idx="3">
                  <c:v>51</c:v>
                </c:pt>
                <c:pt idx="4">
                  <c:v>49</c:v>
                </c:pt>
                <c:pt idx="5">
                  <c:v>25</c:v>
                </c:pt>
                <c:pt idx="6">
                  <c:v>24</c:v>
                </c:pt>
                <c:pt idx="7">
                  <c:v>22</c:v>
                </c:pt>
                <c:pt idx="8">
                  <c:v>19</c:v>
                </c:pt>
                <c:pt idx="9">
                  <c:v>15</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Ermelo</c:v>
                </c:pt>
                <c:pt idx="1">
                  <c:v>Nijkerk</c:v>
                </c:pt>
                <c:pt idx="2">
                  <c:v>Harderwijk</c:v>
                </c:pt>
                <c:pt idx="3">
                  <c:v>Amersfoort</c:v>
                </c:pt>
                <c:pt idx="4">
                  <c:v>Barneveld</c:v>
                </c:pt>
                <c:pt idx="5">
                  <c:v>Ede</c:v>
                </c:pt>
                <c:pt idx="6">
                  <c:v>Nunspeet</c:v>
                </c:pt>
                <c:pt idx="7">
                  <c:v>Utrecht</c:v>
                </c:pt>
                <c:pt idx="8">
                  <c:v>Amsterdam</c:v>
                </c:pt>
                <c:pt idx="9">
                  <c:v>Soest</c:v>
                </c:pt>
              </c:strCache>
            </c:strRef>
          </c:cat>
          <c:val>
            <c:numRef>
              <c:f>Sheet1!$C$2:$C$11</c:f>
              <c:numCache>
                <c:formatCode>General</c:formatCode>
                <c:ptCount val="10"/>
                <c:pt idx="0">
                  <c:v>59</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8.3333333333333329E-2</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5</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6666666666666666</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25</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7-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01F4723-8562-4117-A5A0-E4771E435806}"/>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 y="-1270000"/>
            <a:ext cx="12700000" cy="9325400"/>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1508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Putten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Putten</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94797419"/>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2515588445"/>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Putten vallen 23,0% van de huishoudens in de hoogste inkomensgroep (rijkste 20% van Nederland). Er zijn dus relatief veel rijken in Putten. De oranje balk komt dus boven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Putten zijn de arme eenpersoonshuishoudens ondervertegenwoordigd. De oranje balk komt dus onder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Putten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Putten</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9.727</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41</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3.307</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7%</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1076297882"/>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1581197862"/>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Putten</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1.290</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53</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0</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3%</a:t>
            </a: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4%</a:t>
            </a: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2862245525"/>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1704747918"/>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Putt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2,0%</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5%</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8,6%</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2236729617"/>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3318596012"/>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Putten</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Putten</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Putten</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Putt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Putten</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Putten</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119</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432</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405 mind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127 mind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0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2408532785"/>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3200332114"/>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Putt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26,4</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Bedrog</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Gewelds- en 
seksuele misdrijven</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Drugsmisdrijven(10), Heling(5) en Harddrugs(5).</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640</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44%</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2816231025"/>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3312605550"/>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Putten het minst ond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Putten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Putt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Putten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Putten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Putten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871782159"/>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689636240"/>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Putten</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Putten</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8.837</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85%</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799212241"/>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Putten</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Putten</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8.977</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65,5%</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3286275837"/>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2167680878"/>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Putt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97</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8,3%</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3,0%</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3336168942"/>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Putt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Putt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586123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24.112</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415</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87</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56</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37</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630335734"/>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6%</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Putten</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7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3%</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3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1%</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1</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0</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64</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3519373003"/>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Putten</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938718704"/>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2098159643"/>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Putten</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3505646693"/>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660510893"/>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2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4%</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1%</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Putten</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77% van de verhuizers naar Putten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50% van de verhuizers weg uit Putten</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3543391684"/>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348297363"/>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Putt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Putten</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8.4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3.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73</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3372949124"/>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Putten</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Handel</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2.0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Gezondheids- en welzijnszorg</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1.9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Landbouw, bosbouw en visserij</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127%</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3869863566"/>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4016908400"/>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3998821505"/>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Putten</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8.4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23%</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hoo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3787407291"/>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843647902"/>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2508152576"/>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448241666"/>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1888350201"/>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5,6%</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1%</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1,5%</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1%</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Putten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Putten</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23</Words>
  <Application>Microsoft Office PowerPoint</Application>
  <PresentationFormat>Widescreen</PresentationFormat>
  <Paragraphs>427</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Putten</vt:lpstr>
      <vt:lpstr>PowerPoint Presentation</vt:lpstr>
      <vt:lpstr>Historische bevolkingsontwikkeling Putt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7T20:06:09Z</dcterms:modified>
</cp:coreProperties>
</file>